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77.xml" ContentType="application/vnd.openxmlformats-officedocument.drawingml.chart+xml"/>
  <Override PartName="/ppt/charts/chart78.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89.xml" ContentType="application/vnd.openxmlformats-officedocument.drawingml.chart+xml"/>
  <Override PartName="/ppt/charts/chart9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101.xml" ContentType="application/vnd.openxmlformats-officedocument.drawingml.chart+xml"/>
  <Override PartName="/ppt/charts/chart102.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7.xml" ContentType="application/vnd.openxmlformats-officedocument.drawingml.chart+xml"/>
  <Override PartName="/ppt/charts/chart10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hannel By Category" id="{6590AF12-FCE1-4399-ACD5-2BA2FB067EF7}">
          <p14:sldIdLst>
            <p14:sldId id="2147475171"/>
            <p14:sldId id="2147475172"/>
            <p14:sldId id="2147475173"/>
            <p14:sldId id="2147475174"/>
            <p14:sldId id="2147475175"/>
            <p14:sldId id="2147475176"/>
          </p14:sldIdLst>
        </p14:section>
        <p14:section name="Brackets By Channel By Sector" id="{40473AE0-F9E7-4D04-AA66-7CF66197F8EB}">
          <p14:sldIdLst>
            <p14:sldId id="2147475177"/>
            <p14:sldId id="2147475178"/>
            <p14:sldId id="2147475179"/>
            <p14:sldId id="2147475180"/>
            <p14:sldId id="2147475181"/>
            <p14:sldId id="2147475182"/>
          </p14:sldIdLst>
        </p14:section>
        <p14:section name="Brackets By Channel By Segment" id="{398524A3-9339-4629-A884-7AB30DD3188C}">
          <p14:sldIdLst>
            <p14:sldId id="2147475183"/>
            <p14:sldId id="2147475184"/>
            <p14:sldId id="2147475185"/>
            <p14:sldId id="2147475186"/>
            <p14:sldId id="2147475187"/>
            <p14:sldId id="2147475188"/>
          </p14:sldIdLst>
        </p14:section>
        <p14:section name="Brackets By AUTOS SCANNING By Category" id="{C31363DA-8A3E-489A-A4B0-06256943EC5A}">
          <p14:sldIdLst>
            <p14:sldId id="2147475189"/>
            <p14:sldId id="2147475190"/>
            <p14:sldId id="2147475191"/>
            <p14:sldId id="2147475192"/>
            <p14:sldId id="2147475193"/>
            <p14:sldId id="2147475194"/>
          </p14:sldIdLst>
        </p14:section>
        <p14:section name="Brackets By AUTOS SCANNING By Sector" id="{7DB41837-C1D9-42CB-893C-7C84A4AA4422}">
          <p14:sldIdLst>
            <p14:sldId id="2147475195"/>
            <p14:sldId id="2147475196"/>
            <p14:sldId id="2147475197"/>
            <p14:sldId id="2147475198"/>
            <p14:sldId id="2147475199"/>
            <p14:sldId id="2147475200"/>
          </p14:sldIdLst>
        </p14:section>
        <p14:section name="Brackets By AUTOS SCANNING By Segment" id="{EAA8E275-0682-4100-982C-EF5C4C39BBF8}">
          <p14:sldIdLst>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8584247932564741E-2</c:v>
                </c:pt>
                <c:pt idx="4">
                  <c:v>3.7720700560555709E-2</c:v>
                </c:pt>
                <c:pt idx="5">
                  <c:v>3.4738564587992191E-3</c:v>
                </c:pt>
                <c:pt idx="6">
                  <c:v>1.076906958703235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822836866523649</c:v>
                </c:pt>
                <c:pt idx="4">
                  <c:v>0.1478614347494501</c:v>
                </c:pt>
                <c:pt idx="5">
                  <c:v>4.7172984125569053E-3</c:v>
                </c:pt>
                <c:pt idx="6">
                  <c:v>7.22845967352328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4757629373164755E-2</c:v>
                </c:pt>
                <c:pt idx="4">
                  <c:v>3.3152109946541546E-2</c:v>
                </c:pt>
                <c:pt idx="5">
                  <c:v>5.6539393288853323E-3</c:v>
                </c:pt>
                <c:pt idx="6">
                  <c:v>1.646925404211208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7.6577336078313841E-3</c:v>
                </c:pt>
                <c:pt idx="5">
                  <c:v>8.137700976257792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2030001535288776E-2</c:v>
                </c:pt>
                <c:pt idx="5">
                  <c:v>3.087974849904118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7345802553416747E-2</c:v>
                </c:pt>
                <c:pt idx="4">
                  <c:v>3.2331197129198692E-2</c:v>
                </c:pt>
                <c:pt idx="5">
                  <c:v>3.2398950952034259E-3</c:v>
                </c:pt>
                <c:pt idx="6">
                  <c:v>1.164222545296135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2678797279063525E-2</c:v>
                </c:pt>
                <c:pt idx="4">
                  <c:v>1.986195840889458E-3</c:v>
                </c:pt>
                <c:pt idx="5">
                  <c:v>6.9443390208018371E-4</c:v>
                </c:pt>
                <c:pt idx="6">
                  <c:v>1.236606403075573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22007466574753E-3</c:v>
                </c:pt>
                <c:pt idx="4">
                  <c:v>1.0451376111653789E-2</c:v>
                </c:pt>
                <c:pt idx="5">
                  <c:v>5.6827098905864515E-2</c:v>
                </c:pt>
                <c:pt idx="6">
                  <c:v>8.2831798652513271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5457411727770247E-3</c:v>
                </c:pt>
                <c:pt idx="5">
                  <c:v>1.642624318752148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2.9890489262960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0257134604811853E-2</c:v>
                </c:pt>
                <c:pt idx="4">
                  <c:v>3.7609461519665988E-2</c:v>
                </c:pt>
                <c:pt idx="5">
                  <c:v>8.9859032439413222E-4</c:v>
                </c:pt>
                <c:pt idx="6">
                  <c:v>1.585971165522187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784548162098888</c:v>
                </c:pt>
                <c:pt idx="1">
                  <c:v>0.19705803029226202</c:v>
                </c:pt>
                <c:pt idx="2">
                  <c:v>3.8661870444256057E-2</c:v>
                </c:pt>
                <c:pt idx="3">
                  <c:v>0.26687425042330093</c:v>
                </c:pt>
                <c:pt idx="4">
                  <c:v>0.16205945981518771</c:v>
                </c:pt>
                <c:pt idx="5">
                  <c:v>2.0166137495994756E-2</c:v>
                </c:pt>
                <c:pt idx="6">
                  <c:v>9.733476990800958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0253073050899588E-2</c:v>
                </c:pt>
                <c:pt idx="4">
                  <c:v>1.0993292593136462E-2</c:v>
                </c:pt>
                <c:pt idx="5">
                  <c:v>1.5623254380348816E-3</c:v>
                </c:pt>
                <c:pt idx="6">
                  <c:v>2.6449844118957666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5934083637333614E-3</c:v>
                </c:pt>
                <c:pt idx="4">
                  <c:v>9.9330474604290304E-3</c:v>
                </c:pt>
                <c:pt idx="5">
                  <c:v>1.3736245980386048E-2</c:v>
                </c:pt>
                <c:pt idx="6">
                  <c:v>9.9584611631943522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9505463662323612E-2</c:v>
                </c:pt>
                <c:pt idx="4">
                  <c:v>3.8637263304953699E-2</c:v>
                </c:pt>
                <c:pt idx="5">
                  <c:v>3.1946835183702402E-3</c:v>
                </c:pt>
                <c:pt idx="6">
                  <c:v>5.79395301396869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8639121225981975E-2</c:v>
                </c:pt>
                <c:pt idx="4">
                  <c:v>3.2972590313037446E-2</c:v>
                </c:pt>
                <c:pt idx="5">
                  <c:v>3.0617292355375699E-3</c:v>
                </c:pt>
                <c:pt idx="6">
                  <c:v>6.201263359758334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3261834276708833E-2</c:v>
                </c:pt>
                <c:pt idx="4">
                  <c:v>1.6861596904735865E-3</c:v>
                </c:pt>
                <c:pt idx="5">
                  <c:v>7.2153152552235054E-4</c:v>
                </c:pt>
                <c:pt idx="6">
                  <c:v>5.9363231658646808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9156522563560794E-2</c:v>
                </c:pt>
                <c:pt idx="4">
                  <c:v>4.1739161996614378E-2</c:v>
                </c:pt>
                <c:pt idx="5">
                  <c:v>1.1821565036181829E-3</c:v>
                </c:pt>
                <c:pt idx="6">
                  <c:v>1.837095123680547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3409295702115979E-3</c:v>
                </c:pt>
                <c:pt idx="4">
                  <c:v>1.0626318909334839E-2</c:v>
                </c:pt>
                <c:pt idx="5">
                  <c:v>5.7778312560457283E-2</c:v>
                </c:pt>
                <c:pt idx="6">
                  <c:v>8.4218298041533086E-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6087383290716273E-3</c:v>
                </c:pt>
                <c:pt idx="5">
                  <c:v>1.709569977420109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1527583686368248</c:v>
                </c:pt>
                <c:pt idx="1">
                  <c:v>0.20313119777623001</c:v>
                </c:pt>
                <c:pt idx="2">
                  <c:v>3.9642177084380455E-2</c:v>
                </c:pt>
                <c:pt idx="3">
                  <c:v>0.27564979513827009</c:v>
                </c:pt>
                <c:pt idx="4">
                  <c:v>0.15940057654149128</c:v>
                </c:pt>
                <c:pt idx="5">
                  <c:v>1.9176260623655329E-2</c:v>
                </c:pt>
                <c:pt idx="6">
                  <c:v>8.772415597229028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3.118352329926795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318697238124198</c:v>
                </c:pt>
                <c:pt idx="1">
                  <c:v>0.27146093098752233</c:v>
                </c:pt>
                <c:pt idx="2">
                  <c:v>6.6891624845113962E-2</c:v>
                </c:pt>
                <c:pt idx="3">
                  <c:v>0.21743681745351201</c:v>
                </c:pt>
                <c:pt idx="4">
                  <c:v>3.107895822899907E-2</c:v>
                </c:pt>
                <c:pt idx="5">
                  <c:v>1.3155685106098637E-2</c:v>
                </c:pt>
                <c:pt idx="6">
                  <c:v>3.6789010997512007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59866233758669E-2</c:v>
                </c:pt>
                <c:pt idx="2">
                  <c:v>8.6358714294844754E-4</c:v>
                </c:pt>
                <c:pt idx="3">
                  <c:v>0.17816150651472493</c:v>
                </c:pt>
                <c:pt idx="4">
                  <c:v>0.12065616185743926</c:v>
                </c:pt>
                <c:pt idx="5">
                  <c:v>0.16202759537140271</c:v>
                </c:pt>
                <c:pt idx="6">
                  <c:v>0.526692486775897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6710584040496869</c:v>
                </c:pt>
                <c:pt idx="1">
                  <c:v>0.26294885105212656</c:v>
                </c:pt>
                <c:pt idx="2">
                  <c:v>6.4469548554844006E-2</c:v>
                </c:pt>
                <c:pt idx="3">
                  <c:v>0.21189801082888213</c:v>
                </c:pt>
                <c:pt idx="4">
                  <c:v>3.4891272056114697E-2</c:v>
                </c:pt>
                <c:pt idx="5">
                  <c:v>1.4775448871255988E-2</c:v>
                </c:pt>
                <c:pt idx="6">
                  <c:v>4.391102823180798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178791596054161</c:v>
                </c:pt>
                <c:pt idx="4">
                  <c:v>0.1132051880598899</c:v>
                </c:pt>
                <c:pt idx="5">
                  <c:v>1.7548768805348445E-3</c:v>
                </c:pt>
                <c:pt idx="6">
                  <c:v>5.196763370165188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6915167595068131</c:v>
                </c:pt>
                <c:pt idx="4">
                  <c:v>3.9276718444238815E-2</c:v>
                </c:pt>
                <c:pt idx="5">
                  <c:v>5.4499915405247269E-3</c:v>
                </c:pt>
                <c:pt idx="6">
                  <c:v>1.630718362815506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6125083620765155E-2</c:v>
                </c:pt>
                <c:pt idx="4">
                  <c:v>2.6685226283846612E-2</c:v>
                </c:pt>
                <c:pt idx="5">
                  <c:v>1.0474630531315627E-2</c:v>
                </c:pt>
                <c:pt idx="6">
                  <c:v>4.6512897629549299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7.4909531457801257E-2</c:v>
                </c:pt>
                <c:pt idx="4">
                  <c:v>2.6573563628055304E-2</c:v>
                </c:pt>
                <c:pt idx="5">
                  <c:v>4.279797571821323E-3</c:v>
                </c:pt>
                <c:pt idx="6">
                  <c:v>1.940994347139564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9818773572826585E-2</c:v>
                </c:pt>
                <c:pt idx="4">
                  <c:v>1.4622076329802522E-2</c:v>
                </c:pt>
                <c:pt idx="5">
                  <c:v>3.2390174171978304E-3</c:v>
                </c:pt>
                <c:pt idx="6">
                  <c:v>2.658524170850826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0536663373353315E-2</c:v>
                </c:pt>
                <c:pt idx="4">
                  <c:v>2.4541623224562964E-2</c:v>
                </c:pt>
                <c:pt idx="5">
                  <c:v>3.3812597291690578E-3</c:v>
                </c:pt>
                <c:pt idx="6">
                  <c:v>2.044811526594578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9.7941937283266403E-2</c:v>
                </c:pt>
                <c:pt idx="4">
                  <c:v>1.8036297047012094E-3</c:v>
                </c:pt>
                <c:pt idx="6">
                  <c:v>2.770065357863287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3243293102195291E-3</c:v>
                </c:pt>
                <c:pt idx="5">
                  <c:v>2.8177449319760215E-2</c:v>
                </c:pt>
                <c:pt idx="6">
                  <c:v>3.7395578860670568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7.6577336078313841E-3</c:v>
                </c:pt>
                <c:pt idx="5">
                  <c:v>8.137700976257792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448613106210912E-2</c:v>
                </c:pt>
                <c:pt idx="1">
                  <c:v>3.2311526189170936E-2</c:v>
                </c:pt>
                <c:pt idx="2">
                  <c:v>6.8692110055585242E-3</c:v>
                </c:pt>
                <c:pt idx="3">
                  <c:v>0.46365745761636096</c:v>
                </c:pt>
                <c:pt idx="4">
                  <c:v>0.22138887704198426</c:v>
                </c:pt>
                <c:pt idx="5">
                  <c:v>1.571487316116536E-2</c:v>
                </c:pt>
                <c:pt idx="6">
                  <c:v>0.1696094418795490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Moderno</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445887049676318E-2</c:v>
                </c:pt>
                <c:pt idx="5">
                  <c:v>2.22848221670788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2291189625562499</c:v>
                </c:pt>
                <c:pt idx="1">
                  <c:v>7.6269074800428452E-2</c:v>
                </c:pt>
                <c:pt idx="2">
                  <c:v>7.3495493008693732E-3</c:v>
                </c:pt>
                <c:pt idx="3">
                  <c:v>0.47244373212188639</c:v>
                </c:pt>
                <c:pt idx="4">
                  <c:v>6.6531388110390305E-2</c:v>
                </c:pt>
                <c:pt idx="5">
                  <c:v>1.5152051012852654E-2</c:v>
                </c:pt>
                <c:pt idx="6">
                  <c:v>0.1393423083979478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1407711693623543E-2</c:v>
                </c:pt>
                <c:pt idx="2">
                  <c:v>8.4936976888713722E-4</c:v>
                </c:pt>
                <c:pt idx="3">
                  <c:v>0.17522840497178355</c:v>
                </c:pt>
                <c:pt idx="4">
                  <c:v>0.11866978005458789</c:v>
                </c:pt>
                <c:pt idx="5">
                  <c:v>0.16003965190514902</c:v>
                </c:pt>
                <c:pt idx="6">
                  <c:v>0.5338050816059688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onvenience + Farmacias Cad + Hard Discounters</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916724061854028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4.0335489304927433E-3</c:v>
                </c:pt>
                <c:pt idx="3">
                  <c:v>0.1675586836088393</c:v>
                </c:pt>
                <c:pt idx="4">
                  <c:v>8.303099418800744E-2</c:v>
                </c:pt>
                <c:pt idx="5">
                  <c:v>9.460913930707035E-2</c:v>
                </c:pt>
                <c:pt idx="6">
                  <c:v>0.6507676339655901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9.5909989583508031E-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1932610379062989E-2</c:v>
                </c:pt>
                <c:pt idx="4">
                  <c:v>4.3975784559535394E-2</c:v>
                </c:pt>
                <c:pt idx="5">
                  <c:v>2.0908153334124125E-3</c:v>
                </c:pt>
                <c:pt idx="6">
                  <c:v>1.66122004914694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7755887725283318E-2</c:v>
                </c:pt>
                <c:pt idx="4">
                  <c:v>6.7371682805771216E-2</c:v>
                </c:pt>
                <c:pt idx="5">
                  <c:v>1.7201227303588037E-3</c:v>
                </c:pt>
                <c:pt idx="6">
                  <c:v>3.687171045151237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8584247932564741E-2</c:v>
                </c:pt>
                <c:pt idx="4">
                  <c:v>3.7720700560555709E-2</c:v>
                </c:pt>
                <c:pt idx="5">
                  <c:v>3.4738564587992191E-3</c:v>
                </c:pt>
                <c:pt idx="6">
                  <c:v>1.076906958703235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Canal Tradic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5013231820186933E-3</c:v>
                </c:pt>
                <c:pt idx="4">
                  <c:v>9.7695181021392463E-3</c:v>
                </c:pt>
                <c:pt idx="5">
                  <c:v>1.3510103953034239E-2</c:v>
                </c:pt>
                <c:pt idx="6">
                  <c:v>2.3440149253016841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2601851359611469E-2</c:v>
                </c:pt>
                <c:pt idx="4">
                  <c:v>6.8816156125501474E-2</c:v>
                </c:pt>
                <c:pt idx="5">
                  <c:v>8.9718493342852285E-3</c:v>
                </c:pt>
                <c:pt idx="6">
                  <c:v>1.074683520909877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5457411727770247E-3</c:v>
                </c:pt>
                <c:pt idx="5">
                  <c:v>1.642624318752148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655743214491623E-2</c:v>
                </c:pt>
                <c:pt idx="1">
                  <c:v>6.9833553472529453E-2</c:v>
                </c:pt>
                <c:pt idx="2">
                  <c:v>1.6376470044223303E-2</c:v>
                </c:pt>
                <c:pt idx="3">
                  <c:v>0.31902660341686145</c:v>
                </c:pt>
                <c:pt idx="4">
                  <c:v>0.3389449232189925</c:v>
                </c:pt>
                <c:pt idx="5">
                  <c:v>3.4796363600134127E-2</c:v>
                </c:pt>
                <c:pt idx="6">
                  <c:v>0.1613663430327674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 Care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6.5989354374214118E-3</c:v>
                </c:pt>
                <c:pt idx="5">
                  <c:v>9.2498162718041043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3.2919226767409653E-2</c:v>
                </c:pt>
                <c:pt idx="4">
                  <c:v>3.9972716825472827E-2</c:v>
                </c:pt>
                <c:pt idx="5">
                  <c:v>1.3302100294657144E-3</c:v>
                </c:pt>
                <c:pt idx="6">
                  <c:v>1.4598991518039745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7667783549627004E-2</c:v>
                </c:pt>
                <c:pt idx="4">
                  <c:v>6.507986221690501E-2</c:v>
                </c:pt>
                <c:pt idx="5">
                  <c:v>1.7848557843856722E-3</c:v>
                </c:pt>
                <c:pt idx="6">
                  <c:v>3.275268520889324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 Care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0221387220980727</c:v>
                </c:pt>
                <c:pt idx="1">
                  <c:v>0.21079300728731831</c:v>
                </c:pt>
                <c:pt idx="2">
                  <c:v>4.4159218259920335E-2</c:v>
                </c:pt>
                <c:pt idx="3">
                  <c:v>0.22346859162999136</c:v>
                </c:pt>
                <c:pt idx="4">
                  <c:v>0.18575803512433944</c:v>
                </c:pt>
                <c:pt idx="5">
                  <c:v>2.3528004007038378E-2</c:v>
                </c:pt>
                <c:pt idx="6">
                  <c:v>0.110079271481584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2.9505463662323612E-2</c:v>
                </c:pt>
                <c:pt idx="4">
                  <c:v>3.8637263304953699E-2</c:v>
                </c:pt>
                <c:pt idx="5">
                  <c:v>3.1946835183702402E-3</c:v>
                </c:pt>
                <c:pt idx="6">
                  <c:v>5.79395301396869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4.4651973056325685E-2</c:v>
                </c:pt>
                <c:pt idx="4">
                  <c:v>7.1175781902897153E-2</c:v>
                </c:pt>
                <c:pt idx="5">
                  <c:v>8.6116450770151887E-3</c:v>
                </c:pt>
                <c:pt idx="6">
                  <c:v>6.54972448373505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9860284405544798</c:v>
                </c:pt>
                <c:pt idx="1">
                  <c:v>0.21727502818623307</c:v>
                </c:pt>
                <c:pt idx="2">
                  <c:v>4.5455376274161241E-2</c:v>
                </c:pt>
                <c:pt idx="3">
                  <c:v>0.23071033091784018</c:v>
                </c:pt>
                <c:pt idx="4">
                  <c:v>0.18360819686882338</c:v>
                </c:pt>
                <c:pt idx="5">
                  <c:v>2.2438065106174292E-2</c:v>
                </c:pt>
                <c:pt idx="6">
                  <c:v>0.101910158591319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6087383290716273E-3</c:v>
                </c:pt>
                <c:pt idx="5">
                  <c:v>1.7095699774201095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0449333597245185E-2</c:v>
                </c:pt>
                <c:pt idx="1">
                  <c:v>7.0785377562273613E-2</c:v>
                </c:pt>
                <c:pt idx="2">
                  <c:v>1.5553589937334276E-2</c:v>
                </c:pt>
                <c:pt idx="3">
                  <c:v>0.3265210348931184</c:v>
                </c:pt>
                <c:pt idx="4">
                  <c:v>0.34263464667454491</c:v>
                </c:pt>
                <c:pt idx="5">
                  <c:v>3.3399435213071531E-2</c:v>
                </c:pt>
                <c:pt idx="6">
                  <c:v>0.15065658212241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6.9206935385945903E-3</c:v>
                </c:pt>
                <c:pt idx="5">
                  <c:v>9.7008289158949867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635029126853426E-2</c:v>
                </c:pt>
                <c:pt idx="1">
                  <c:v>3.4166723402832513E-2</c:v>
                </c:pt>
                <c:pt idx="2">
                  <c:v>2.7296645669035698E-3</c:v>
                </c:pt>
                <c:pt idx="3">
                  <c:v>0.42791904181217172</c:v>
                </c:pt>
                <c:pt idx="4">
                  <c:v>0.24118560212982318</c:v>
                </c:pt>
                <c:pt idx="5">
                  <c:v>2.9243735176414751E-2</c:v>
                </c:pt>
                <c:pt idx="6">
                  <c:v>0.178404941643320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unscreen Liquido | NATIONAL</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2187769289831998</c:v>
                </c:pt>
                <c:pt idx="4">
                  <c:v>0.12550493895390463</c:v>
                </c:pt>
                <c:pt idx="5">
                  <c:v>1.2950770856719335E-3</c:v>
                </c:pt>
                <c:pt idx="6">
                  <c:v>4.925878742254907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unscreen Liquido | Autos Scanning</c:v>
                </c:pt>
              </c:strCache>
            </c:strRef>
          </c:tx>
          <c:spPr>
            <a:solidFill>
              <a:srgbClr val="BCBBBB"/>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05432487862183E-2</c:v>
                </c:pt>
                <c:pt idx="1">
                  <c:v>1.2128541643948871E-2</c:v>
                </c:pt>
                <c:pt idx="2">
                  <c:v>2.3479955188701737E-3</c:v>
                </c:pt>
                <c:pt idx="3">
                  <c:v>0.4243133457259381</c:v>
                </c:pt>
                <c:pt idx="4">
                  <c:v>0.34697528560844959</c:v>
                </c:pt>
                <c:pt idx="5">
                  <c:v>1.5892492452106218E-2</c:v>
                </c:pt>
                <c:pt idx="6">
                  <c:v>0.18443690656282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9/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9/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notesSlide" Target="../notesSlides/notesSlide10.xml"/><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35.xml"/><Relationship Id="rId11" Type="http://schemas.openxmlformats.org/officeDocument/2006/relationships/chart" Target="../charts/chart40.xml"/><Relationship Id="rId5" Type="http://schemas.openxmlformats.org/officeDocument/2006/relationships/image" Target="../media/image28.emf"/><Relationship Id="rId10" Type="http://schemas.openxmlformats.org/officeDocument/2006/relationships/chart" Target="../charts/chart39.xml"/><Relationship Id="rId4" Type="http://schemas.openxmlformats.org/officeDocument/2006/relationships/oleObject" Target="../embeddings/oleObject27.bin"/><Relationship Id="rId9" Type="http://schemas.openxmlformats.org/officeDocument/2006/relationships/chart" Target="../charts/chart3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notesSlide" Target="../notesSlides/notesSlide12.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43.xml"/><Relationship Id="rId11" Type="http://schemas.openxmlformats.org/officeDocument/2006/relationships/chart" Target="../charts/chart48.xml"/><Relationship Id="rId5" Type="http://schemas.openxmlformats.org/officeDocument/2006/relationships/image" Target="../media/image28.emf"/><Relationship Id="rId10" Type="http://schemas.openxmlformats.org/officeDocument/2006/relationships/chart" Target="../charts/chart47.xml"/><Relationship Id="rId4" Type="http://schemas.openxmlformats.org/officeDocument/2006/relationships/oleObject" Target="../embeddings/oleObject27.bin"/><Relationship Id="rId9" Type="http://schemas.openxmlformats.org/officeDocument/2006/relationships/chart" Target="../charts/chart4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4.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51.xml"/><Relationship Id="rId11" Type="http://schemas.openxmlformats.org/officeDocument/2006/relationships/chart" Target="../charts/chart56.xml"/><Relationship Id="rId5" Type="http://schemas.openxmlformats.org/officeDocument/2006/relationships/image" Target="../media/image28.emf"/><Relationship Id="rId10" Type="http://schemas.openxmlformats.org/officeDocument/2006/relationships/chart" Target="../charts/chart55.xml"/><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notesSlide" Target="../notesSlides/notesSlide16.xml"/><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59.xml"/><Relationship Id="rId11" Type="http://schemas.openxmlformats.org/officeDocument/2006/relationships/chart" Target="../charts/chart64.xml"/><Relationship Id="rId5" Type="http://schemas.openxmlformats.org/officeDocument/2006/relationships/image" Target="../media/image28.emf"/><Relationship Id="rId10" Type="http://schemas.openxmlformats.org/officeDocument/2006/relationships/chart" Target="../charts/chart63.xml"/><Relationship Id="rId4" Type="http://schemas.openxmlformats.org/officeDocument/2006/relationships/oleObject" Target="../embeddings/oleObject27.bin"/><Relationship Id="rId9" Type="http://schemas.openxmlformats.org/officeDocument/2006/relationships/chart" Target="../charts/chart6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6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notesSlide" Target="../notesSlides/notesSlide18.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67.xml"/><Relationship Id="rId11" Type="http://schemas.openxmlformats.org/officeDocument/2006/relationships/chart" Target="../charts/chart72.xml"/><Relationship Id="rId5" Type="http://schemas.openxmlformats.org/officeDocument/2006/relationships/image" Target="../media/image28.emf"/><Relationship Id="rId10" Type="http://schemas.openxmlformats.org/officeDocument/2006/relationships/chart" Target="../charts/chart71.xml"/><Relationship Id="rId4" Type="http://schemas.openxmlformats.org/officeDocument/2006/relationships/oleObject" Target="../embeddings/oleObject27.bin"/><Relationship Id="rId9" Type="http://schemas.openxmlformats.org/officeDocument/2006/relationships/chart" Target="../charts/chart7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11" Type="http://schemas.openxmlformats.org/officeDocument/2006/relationships/chart" Target="../charts/chart8.xml"/><Relationship Id="rId5" Type="http://schemas.openxmlformats.org/officeDocument/2006/relationships/image" Target="../media/image28.emf"/><Relationship Id="rId10" Type="http://schemas.openxmlformats.org/officeDocument/2006/relationships/chart" Target="../charts/chart7.xml"/><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7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8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9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10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4.xml"/><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11" Type="http://schemas.openxmlformats.org/officeDocument/2006/relationships/chart" Target="../charts/chart16.xml"/><Relationship Id="rId5" Type="http://schemas.openxmlformats.org/officeDocument/2006/relationships/image" Target="../media/image28.emf"/><Relationship Id="rId10" Type="http://schemas.openxmlformats.org/officeDocument/2006/relationships/chart" Target="../charts/chart15.xml"/><Relationship Id="rId4" Type="http://schemas.openxmlformats.org/officeDocument/2006/relationships/oleObject" Target="../embeddings/oleObject27.bin"/><Relationship Id="rId9" Type="http://schemas.openxmlformats.org/officeDocument/2006/relationships/chart" Target="../charts/char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6.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9.xml"/><Relationship Id="rId11" Type="http://schemas.openxmlformats.org/officeDocument/2006/relationships/chart" Target="../charts/chart24.xml"/><Relationship Id="rId5" Type="http://schemas.openxmlformats.org/officeDocument/2006/relationships/image" Target="../media/image28.emf"/><Relationship Id="rId10" Type="http://schemas.openxmlformats.org/officeDocument/2006/relationships/chart" Target="../charts/chart23.xml"/><Relationship Id="rId4" Type="http://schemas.openxmlformats.org/officeDocument/2006/relationships/oleObject" Target="../embeddings/oleObject27.bin"/><Relationship Id="rId9" Type="http://schemas.openxmlformats.org/officeDocument/2006/relationships/chart" Target="../charts/chart2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8.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7.xml"/><Relationship Id="rId11" Type="http://schemas.openxmlformats.org/officeDocument/2006/relationships/chart" Target="../charts/chart32.xml"/><Relationship Id="rId5" Type="http://schemas.openxmlformats.org/officeDocument/2006/relationships/image" Target="../media/image28.emf"/><Relationship Id="rId10" Type="http://schemas.openxmlformats.org/officeDocument/2006/relationships/chart" Target="../charts/chart31.xml"/><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133015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70216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15610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28625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51782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14168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27496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89054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568550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42481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53530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187568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561941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75405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98898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655351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93462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61145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39452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828085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12645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29522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49255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37910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06084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77647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18012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006798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859689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Autos Scanning</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AUTOS SCANNING | Sunscreen Liquido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65562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16860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93603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eauty Care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 Car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36947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24923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Moderno</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onvenience + Farmacias Cad + Hard Discounter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nal Tradic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Hawaiian Tropic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Channe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956712065"/>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86329718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4264468898"/>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2524432150"/>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53746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anana Boa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650+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600-6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550-5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300-5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250-2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200-24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199.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unscreen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7/9/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163223824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039961669"/>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5887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TotalTime>
  <Words>2980</Words>
  <Application>Microsoft Office PowerPoint</Application>
  <PresentationFormat>On-screen Show (16:9)</PresentationFormat>
  <Paragraphs>866</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65</cp:revision>
  <dcterms:created xsi:type="dcterms:W3CDTF">2024-07-05T11:30:58Z</dcterms:created>
  <dcterms:modified xsi:type="dcterms:W3CDTF">2025-07-09T07:2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